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08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08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8DB8BEA-10D6-4AAA-A85A-620FC779E5F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endement 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50 % de temps d'arrêt en moins avec un seul opérateu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ptimisation des coûts : meilleur TCO grâce à une réduction des arrêts machin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écurité : Système semi-automatique nécessitant moins d'opérations manuell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implicité et ergonomie : opérations sans outil et pièces facilement accessibl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 système breveté Bottle Switch™ de Sidel améliore la flexibilité de la souffleuse en réduisant le temps de changement du moule à moins d'une minute, ce qui permet de diminuer de moitié les temps d'arrêt. Cette solution semi-automatique est facile d'utilisation pour les opérateurs et ne nécessite aucun outil.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Bottle Switch™  est décliné en 5 packs pour répondre aux besoins du client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Pack 2 contient un ensemble de changement de format de corps de moul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éduction sensible des temps de changement de format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12343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 Series 2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Flexibilité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 2 (MM GM Series 2 (cylindrique GUPM, SBO non HR))</a:t>
            </a:r>
            <a:endParaRPr kumimoji="0" lang="fr-F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968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337995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22E6E54-75E4-4340-8DB0-D17EF7C619AA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577968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0</TotalTime>
  <Words>84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éduction sensible des temps de changement de forma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19-08-13T13:4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46:12.0689515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